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EB71C410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433" r:id="rId2"/>
    <p:sldId id="344" r:id="rId3"/>
    <p:sldId id="436" r:id="rId4"/>
    <p:sldId id="438" r:id="rId5"/>
  </p:sldIdLst>
  <p:sldSz cx="9144000" cy="6858000" type="screen4x3"/>
  <p:notesSz cx="7315200" cy="96012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>
          <p15:clr>
            <a:srgbClr val="A4A3A4"/>
          </p15:clr>
        </p15:guide>
        <p15:guide id="11" orient="horz" pos="2160">
          <p15:clr>
            <a:srgbClr val="A4A3A4"/>
          </p15:clr>
        </p15:guide>
        <p15:guide id="12" orient="horz" pos="3363" userDrawn="1">
          <p15:clr>
            <a:srgbClr val="A4A3A4"/>
          </p15:clr>
        </p15:guide>
        <p15:guide id="13" orient="horz" pos="137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5757"/>
    <a:srgbClr val="000000"/>
    <a:srgbClr val="FFCD00"/>
    <a:srgbClr val="ED8B00"/>
    <a:srgbClr val="DB291C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4" autoAdjust="0"/>
    <p:restoredTop sz="95053" autoAdjust="0"/>
  </p:normalViewPr>
  <p:slideViewPr>
    <p:cSldViewPr snapToGrid="0" showGuides="1">
      <p:cViewPr>
        <p:scale>
          <a:sx n="114" d="100"/>
          <a:sy n="114" d="100"/>
        </p:scale>
        <p:origin x="1446" y="114"/>
      </p:cViewPr>
      <p:guideLst>
        <p:guide/>
        <p:guide orient="horz" pos="2160"/>
        <p:guide orient="horz" pos="3363"/>
        <p:guide orient="horz" pos="1378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9" d="100"/>
        <a:sy n="39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2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2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5153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5037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Vectorized Entity Resolu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864277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7200"/>
            <a:ext cx="6958012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6958012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39" y="2051999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9" y="1665289"/>
            <a:ext cx="8391524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65289"/>
            <a:ext cx="2671763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8" y="1665289"/>
            <a:ext cx="2671211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7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659145"/>
            <a:ext cx="2672966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7587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8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11847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68824" y="2125013"/>
            <a:ext cx="4206240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6" y="1665288"/>
            <a:ext cx="4011847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265735" y="2125013"/>
            <a:ext cx="4206240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91524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3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7" y="3108509"/>
            <a:ext cx="2029968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2199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9116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7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5008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lang="en-US" noProof="0" dirty="0" smtClean="0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3"/>
            <a:ext cx="27432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30199" y="1700213"/>
            <a:ext cx="27432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3218" y="1700213"/>
            <a:ext cx="27432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321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3019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5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8196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81960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48037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81960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81960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6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48936" y="4255706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8038" y="4249682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0817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5467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60904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112933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5467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112933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6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5564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7188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6376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87694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7" y="1665288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CaseCode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7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8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9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791176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0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 userDrawn="1"/>
        </p:nvSpPr>
        <p:spPr>
          <a:xfrm>
            <a:off x="4751388" y="6476999"/>
            <a:ext cx="3672420" cy="20005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r" defTabSz="914400" rtl="0" eaLnBrk="1" latinLnBrk="0" hangingPunct="1">
              <a:spcBef>
                <a:spcPts val="0"/>
              </a:spcBef>
              <a:buSzPct val="100000"/>
              <a:buFontTx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Presentation title</a:t>
            </a:r>
            <a:br>
              <a:rPr lang="en-US" sz="650" b="0" noProof="0" dirty="0">
                <a:solidFill>
                  <a:schemeClr val="tx1"/>
                </a:solidFill>
                <a:latin typeface="+mn-lt"/>
              </a:rPr>
            </a:b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[To edit, click View &gt; Slide Master &gt; Slide master1]</a:t>
            </a:r>
          </a:p>
        </p:txBody>
      </p:sp>
      <p:sp>
        <p:nvSpPr>
          <p:cNvPr id="18" name="Copyright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b="0" noProof="0">
                <a:solidFill>
                  <a:schemeClr val="tx1"/>
                </a:solidFill>
                <a:latin typeface="+mn-lt"/>
              </a:rPr>
              <a:t>Copyright © 2019 Deloitte Development LLC. All rights reserved.</a:t>
            </a:r>
            <a:endParaRPr lang="en-US" sz="65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6" r:id="rId3"/>
    <p:sldLayoutId id="2147483755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237" userDrawn="1">
          <p15:clr>
            <a:srgbClr val="F26B43"/>
          </p15:clr>
        </p15:guide>
        <p15:guide id="5" pos="5523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372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1022" userDrawn="1">
          <p15:clr>
            <a:srgbClr val="F26B43"/>
          </p15:clr>
        </p15:guide>
        <p15:guide id="13" pos="1137" userDrawn="1">
          <p15:clr>
            <a:srgbClr val="F26B43"/>
          </p15:clr>
        </p15:guide>
        <p15:guide id="14" pos="1920" userDrawn="1">
          <p15:clr>
            <a:srgbClr val="F26B43"/>
          </p15:clr>
        </p15:guide>
        <p15:guide id="15" pos="2033" userDrawn="1">
          <p15:clr>
            <a:srgbClr val="F26B43"/>
          </p15:clr>
        </p15:guide>
        <p15:guide id="16" pos="4620" userDrawn="1">
          <p15:clr>
            <a:srgbClr val="F26B43"/>
          </p15:clr>
        </p15:guide>
        <p15:guide id="17" pos="2823" userDrawn="1">
          <p15:clr>
            <a:srgbClr val="F26B43"/>
          </p15:clr>
        </p15:guide>
        <p15:guide id="18" pos="2937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4734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B71C410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Vectorized Entity Resolu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6238" y="5864229"/>
            <a:ext cx="4720197" cy="505645"/>
          </a:xfrm>
        </p:spPr>
        <p:txBody>
          <a:bodyPr anchor="b" anchorCtr="0"/>
          <a:lstStyle/>
          <a:p>
            <a:r>
              <a:rPr lang="en-US" dirty="0"/>
              <a:t>A Fast and Efficient Way to Standardize Data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5409100" cy="298450"/>
          </a:xfrm>
        </p:spPr>
        <p:txBody>
          <a:bodyPr/>
          <a:lstStyle/>
          <a:p>
            <a:r>
              <a:rPr lang="en-US" dirty="0"/>
              <a:t>Henderson Trefzger, Analytics and Data Science Discussion Series; October 3, 2019</a:t>
            </a:r>
          </a:p>
          <a:p>
            <a:endParaRPr lang="en-US" dirty="0"/>
          </a:p>
        </p:txBody>
      </p:sp>
      <p:pic>
        <p:nvPicPr>
          <p:cNvPr id="7" name="Picture 6" descr="cid:image003.png@01D45A49.2BC06AD0">
            <a:extLst>
              <a:ext uri="{FF2B5EF4-FFF2-40B4-BE49-F238E27FC236}">
                <a16:creationId xmlns:a16="http://schemas.microsoft.com/office/drawing/2014/main" id="{CAC47422-C51D-48C7-A23E-C7CF29A0A9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2383" y="0"/>
            <a:ext cx="3231617" cy="209430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987194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Entity Resolution?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Our data is never as clean as we want it to be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6"/>
          </p:nvPr>
        </p:nvSpPr>
        <p:spPr>
          <a:xfrm>
            <a:off x="376238" y="1658680"/>
            <a:ext cx="4969485" cy="2309582"/>
          </a:xfrm>
        </p:spPr>
        <p:txBody>
          <a:bodyPr/>
          <a:lstStyle/>
          <a:p>
            <a:r>
              <a:rPr lang="en-US" dirty="0"/>
              <a:t>Entity resolution (ER) is the process standardizing and de-duplicating names or other identifiers in a dataset. Is essential for numerous types of data science tasks, such a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etwork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chine lear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commendation syste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0EB111E-F802-4AC5-B629-A0D20BE79C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358214"/>
              </p:ext>
            </p:extLst>
          </p:nvPr>
        </p:nvGraphicFramePr>
        <p:xfrm>
          <a:off x="376238" y="3278460"/>
          <a:ext cx="8322286" cy="3103292"/>
        </p:xfrm>
        <a:graphic>
          <a:graphicData uri="http://schemas.openxmlformats.org/drawingml/2006/table">
            <a:tbl>
              <a:tblPr/>
              <a:tblGrid>
                <a:gridCol w="1282145">
                  <a:extLst>
                    <a:ext uri="{9D8B030D-6E8A-4147-A177-3AD203B41FA5}">
                      <a16:colId xmlns:a16="http://schemas.microsoft.com/office/drawing/2014/main" val="2573815080"/>
                    </a:ext>
                  </a:extLst>
                </a:gridCol>
                <a:gridCol w="1282145">
                  <a:extLst>
                    <a:ext uri="{9D8B030D-6E8A-4147-A177-3AD203B41FA5}">
                      <a16:colId xmlns:a16="http://schemas.microsoft.com/office/drawing/2014/main" val="3952600502"/>
                    </a:ext>
                  </a:extLst>
                </a:gridCol>
                <a:gridCol w="1282145">
                  <a:extLst>
                    <a:ext uri="{9D8B030D-6E8A-4147-A177-3AD203B41FA5}">
                      <a16:colId xmlns:a16="http://schemas.microsoft.com/office/drawing/2014/main" val="3078637022"/>
                    </a:ext>
                  </a:extLst>
                </a:gridCol>
                <a:gridCol w="1282145">
                  <a:extLst>
                    <a:ext uri="{9D8B030D-6E8A-4147-A177-3AD203B41FA5}">
                      <a16:colId xmlns:a16="http://schemas.microsoft.com/office/drawing/2014/main" val="1987333358"/>
                    </a:ext>
                  </a:extLst>
                </a:gridCol>
                <a:gridCol w="1282145">
                  <a:extLst>
                    <a:ext uri="{9D8B030D-6E8A-4147-A177-3AD203B41FA5}">
                      <a16:colId xmlns:a16="http://schemas.microsoft.com/office/drawing/2014/main" val="2186281912"/>
                    </a:ext>
                  </a:extLst>
                </a:gridCol>
                <a:gridCol w="1911561">
                  <a:extLst>
                    <a:ext uri="{9D8B030D-6E8A-4147-A177-3AD203B41FA5}">
                      <a16:colId xmlns:a16="http://schemas.microsoft.com/office/drawing/2014/main" val="2279846770"/>
                    </a:ext>
                  </a:extLst>
                </a:gridCol>
              </a:tblGrid>
              <a:tr h="355064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en-US" sz="1200" b="1" dirty="0">
                          <a:effectLst/>
                        </a:rPr>
                        <a:t>Three Rows, One True Record</a:t>
                      </a:r>
                    </a:p>
                  </a:txBody>
                  <a:tcPr marL="52639" marR="52639" marT="52639" marB="526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en-US" sz="1200" b="1" dirty="0">
                        <a:effectLst/>
                      </a:endParaRP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en-US" sz="1200" b="1" dirty="0">
                        <a:effectLst/>
                      </a:endParaRP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en-US" sz="1200" b="1" dirty="0">
                        <a:effectLst/>
                      </a:endParaRP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en-US" sz="1200" b="1" dirty="0">
                        <a:effectLst/>
                      </a:endParaRP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en-US" sz="1200" b="1" dirty="0">
                        <a:effectLst/>
                      </a:endParaRPr>
                    </a:p>
                  </a:txBody>
                  <a:tcPr marL="52639" marR="52639" marT="52639" marB="52639" anchor="ctr">
                    <a:lnL>
                      <a:noFill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3709392"/>
                  </a:ext>
                </a:extLst>
              </a:tr>
              <a:tr h="355064"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dirty="0">
                          <a:effectLst/>
                        </a:rPr>
                        <a:t>title</a:t>
                      </a:r>
                    </a:p>
                  </a:txBody>
                  <a:tcPr marL="52639" marR="52639" marT="52639" marB="526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dirty="0">
                          <a:effectLst/>
                        </a:rPr>
                        <a:t>length</a:t>
                      </a: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dirty="0">
                          <a:effectLst/>
                        </a:rPr>
                        <a:t>artist</a:t>
                      </a: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dirty="0">
                          <a:effectLst/>
                        </a:rPr>
                        <a:t>album</a:t>
                      </a: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dirty="0">
                          <a:effectLst/>
                        </a:rPr>
                        <a:t>year</a:t>
                      </a: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dirty="0">
                          <a:effectLst/>
                        </a:rPr>
                        <a:t>language</a:t>
                      </a:r>
                    </a:p>
                  </a:txBody>
                  <a:tcPr marL="52639" marR="52639" marT="52639" marB="5263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01538851"/>
                  </a:ext>
                </a:extLst>
              </a:tr>
              <a:tr h="945274">
                <a:tc>
                  <a:txBody>
                    <a:bodyPr/>
                    <a:lstStyle/>
                    <a:p>
                      <a:pPr algn="r" fontAlgn="ctr"/>
                      <a:r>
                        <a:rPr lang="fr-FR" sz="1200" dirty="0">
                          <a:effectLst/>
                        </a:rPr>
                        <a:t>Luce </a:t>
                      </a:r>
                      <a:r>
                        <a:rPr lang="fr-FR" sz="1200" dirty="0" err="1">
                          <a:effectLst/>
                        </a:rPr>
                        <a:t>Dufault</a:t>
                      </a:r>
                      <a:r>
                        <a:rPr lang="fr-FR" sz="1200" dirty="0">
                          <a:effectLst/>
                        </a:rPr>
                        <a:t> - Ballade Ã  donner</a:t>
                      </a:r>
                    </a:p>
                  </a:txBody>
                  <a:tcPr marL="52639" marR="52639" marT="52639" marB="526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dirty="0">
                          <a:effectLst/>
                        </a:rPr>
                        <a:t>242</a:t>
                      </a: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dirty="0">
                        <a:effectLst/>
                      </a:endParaRP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dirty="0">
                          <a:effectLst/>
                        </a:rPr>
                        <a:t>Luce </a:t>
                      </a:r>
                      <a:r>
                        <a:rPr lang="en-US" sz="1200" dirty="0" err="1">
                          <a:effectLst/>
                        </a:rPr>
                        <a:t>Dufault</a:t>
                      </a:r>
                      <a:endParaRPr lang="en-US" sz="1200" dirty="0">
                        <a:effectLst/>
                      </a:endParaRP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dirty="0">
                          <a:effectLst/>
                        </a:rPr>
                        <a:t>96</a:t>
                      </a: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dirty="0">
                          <a:effectLst/>
                        </a:rPr>
                        <a:t>French</a:t>
                      </a:r>
                    </a:p>
                  </a:txBody>
                  <a:tcPr marL="52639" marR="52639" marT="52639" marB="5263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212407"/>
                  </a:ext>
                </a:extLst>
              </a:tr>
              <a:tr h="650169"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>
                          <a:effectLst/>
                        </a:rPr>
                        <a:t>009-Ballade a donner</a:t>
                      </a:r>
                    </a:p>
                  </a:txBody>
                  <a:tcPr marL="52639" marR="52639" marT="52639" marB="526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dirty="0">
                          <a:effectLst/>
                        </a:rPr>
                        <a:t>4m 2sec</a:t>
                      </a: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dirty="0">
                          <a:effectLst/>
                        </a:rPr>
                        <a:t>Luce </a:t>
                      </a:r>
                      <a:r>
                        <a:rPr lang="en-US" sz="1200" dirty="0" err="1">
                          <a:effectLst/>
                        </a:rPr>
                        <a:t>Dufault</a:t>
                      </a:r>
                      <a:endParaRPr lang="en-US" sz="1200" dirty="0">
                        <a:effectLst/>
                      </a:endParaRP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dirty="0">
                          <a:effectLst/>
                        </a:rPr>
                        <a:t>Luce </a:t>
                      </a:r>
                      <a:r>
                        <a:rPr lang="en-US" sz="1200" dirty="0" err="1">
                          <a:effectLst/>
                        </a:rPr>
                        <a:t>Dufault</a:t>
                      </a:r>
                      <a:r>
                        <a:rPr lang="en-US" sz="1200" dirty="0">
                          <a:effectLst/>
                        </a:rPr>
                        <a:t> (1996)</a:t>
                      </a: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dirty="0">
                        <a:effectLst/>
                      </a:endParaRP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dirty="0" err="1">
                          <a:effectLst/>
                        </a:rPr>
                        <a:t>Fre</a:t>
                      </a:r>
                      <a:r>
                        <a:rPr lang="en-US" sz="1200" dirty="0">
                          <a:effectLst/>
                        </a:rPr>
                        <a:t>.</a:t>
                      </a:r>
                    </a:p>
                  </a:txBody>
                  <a:tcPr marL="52639" marR="52639" marT="52639" marB="5263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3512516"/>
                  </a:ext>
                </a:extLst>
              </a:tr>
              <a:tr h="797721">
                <a:tc>
                  <a:txBody>
                    <a:bodyPr/>
                    <a:lstStyle/>
                    <a:p>
                      <a:pPr algn="r" fontAlgn="ctr"/>
                      <a:r>
                        <a:rPr lang="fr-FR" sz="1200" dirty="0">
                          <a:effectLst/>
                        </a:rPr>
                        <a:t>Ballade Ã  donner - Luce </a:t>
                      </a:r>
                      <a:r>
                        <a:rPr lang="fr-FR" sz="1200" dirty="0" err="1">
                          <a:effectLst/>
                        </a:rPr>
                        <a:t>Dufault</a:t>
                      </a:r>
                      <a:endParaRPr lang="fr-FR" sz="1200" dirty="0">
                        <a:effectLst/>
                      </a:endParaRPr>
                    </a:p>
                  </a:txBody>
                  <a:tcPr marL="52639" marR="52639" marT="52639" marB="526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>
                          <a:effectLst/>
                        </a:rPr>
                        <a:t>4.033</a:t>
                      </a: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>
                          <a:effectLst/>
                        </a:rPr>
                        <a:t>Luce Dufault</a:t>
                      </a: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dirty="0">
                        <a:effectLst/>
                      </a:endParaRP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dirty="0">
                          <a:effectLst/>
                        </a:rPr>
                        <a:t>'96</a:t>
                      </a:r>
                    </a:p>
                  </a:txBody>
                  <a:tcPr marL="52639" marR="52639" marT="52639" marB="5263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dirty="0">
                          <a:effectLst/>
                        </a:rPr>
                        <a:t>French</a:t>
                      </a:r>
                    </a:p>
                  </a:txBody>
                  <a:tcPr marL="52639" marR="52639" marT="52639" marB="52639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44888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257564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How Can We Implement Entity Resolution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Three approaches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5516" y="1665288"/>
            <a:ext cx="8422724" cy="1337972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entity resolution to be truly robust, you must compare each record to every other record. </a:t>
            </a:r>
          </a:p>
          <a:p>
            <a:pPr marL="298450" lvl="1" indent="-171450"/>
            <a:r>
              <a:rPr lang="en-US" dirty="0"/>
              <a:t>De-duplication is a true “N-squared problem” where the number of comparisons and computing cost necessary increases exponentially with the number of records to be standardize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re are three common approaches that each have their own benefits</a:t>
            </a:r>
          </a:p>
          <a:p>
            <a:endParaRPr lang="en-US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EA90B0BC-1098-4A90-B037-F86FE3E3B96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8414970"/>
              </p:ext>
            </p:extLst>
          </p:nvPr>
        </p:nvGraphicFramePr>
        <p:xfrm>
          <a:off x="354966" y="2833661"/>
          <a:ext cx="8423274" cy="2926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3879">
                  <a:extLst>
                    <a:ext uri="{9D8B030D-6E8A-4147-A177-3AD203B41FA5}">
                      <a16:colId xmlns:a16="http://schemas.microsoft.com/office/drawing/2014/main" val="1278070891"/>
                    </a:ext>
                  </a:extLst>
                </a:gridCol>
                <a:gridCol w="1403879">
                  <a:extLst>
                    <a:ext uri="{9D8B030D-6E8A-4147-A177-3AD203B41FA5}">
                      <a16:colId xmlns:a16="http://schemas.microsoft.com/office/drawing/2014/main" val="2439032919"/>
                    </a:ext>
                  </a:extLst>
                </a:gridCol>
                <a:gridCol w="1157606">
                  <a:extLst>
                    <a:ext uri="{9D8B030D-6E8A-4147-A177-3AD203B41FA5}">
                      <a16:colId xmlns:a16="http://schemas.microsoft.com/office/drawing/2014/main" val="2792775600"/>
                    </a:ext>
                  </a:extLst>
                </a:gridCol>
                <a:gridCol w="1317072">
                  <a:extLst>
                    <a:ext uri="{9D8B030D-6E8A-4147-A177-3AD203B41FA5}">
                      <a16:colId xmlns:a16="http://schemas.microsoft.com/office/drawing/2014/main" val="3985862089"/>
                    </a:ext>
                  </a:extLst>
                </a:gridCol>
                <a:gridCol w="1736959">
                  <a:extLst>
                    <a:ext uri="{9D8B030D-6E8A-4147-A177-3AD203B41FA5}">
                      <a16:colId xmlns:a16="http://schemas.microsoft.com/office/drawing/2014/main" val="2554461233"/>
                    </a:ext>
                  </a:extLst>
                </a:gridCol>
                <a:gridCol w="1403879">
                  <a:extLst>
                    <a:ext uri="{9D8B030D-6E8A-4147-A177-3AD203B41FA5}">
                      <a16:colId xmlns:a16="http://schemas.microsoft.com/office/drawing/2014/main" val="314394237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Meth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cal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Data requ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Data Prep Requ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ransfer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Background Knowledge Requi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63657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Explicit Entity Resol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o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63503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Machine Learning Entity Resol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&gt;1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Hig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3782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Vectorized Entity Resol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&gt;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o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33867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082390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75523F-17B4-4561-A588-69FCBE84E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, let’s do some co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01E79C-E2CB-468D-A520-C9342025EE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pen the notebook titled, “Explicit Entity Resolution”</a:t>
            </a:r>
          </a:p>
        </p:txBody>
      </p:sp>
    </p:spTree>
    <p:extLst>
      <p:ext uri="{BB962C8B-B14F-4D97-AF65-F5344CB8AC3E}">
        <p14:creationId xmlns:p14="http://schemas.microsoft.com/office/powerpoint/2010/main" val="39032631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_Onscreen_US.potx [Read-Only]" id="{1B45AA95-54C6-4F90-9076-8459D2785A8A}" vid="{80BB197A-67B9-45C0-9E42-52DFE1234A3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_4_3_Onscreen_US</Template>
  <TotalTime>1484</TotalTime>
  <Words>247</Words>
  <Application>Microsoft Office PowerPoint</Application>
  <PresentationFormat>On-screen Show (4:3)</PresentationFormat>
  <Paragraphs>65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Open Sans</vt:lpstr>
      <vt:lpstr>Verdana</vt:lpstr>
      <vt:lpstr>Deloitte 16_9 onscreen</vt:lpstr>
      <vt:lpstr>think-cell Slide</vt:lpstr>
      <vt:lpstr>Vectorized Entity Resolution</vt:lpstr>
      <vt:lpstr>What is Entity Resolution?</vt:lpstr>
      <vt:lpstr>How Can We Implement Entity Resolution?</vt:lpstr>
      <vt:lpstr>Now, let’s do some coding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ctorized Entity Resolution</dc:title>
  <dc:creator>Trefzger, Henderson</dc:creator>
  <cp:lastModifiedBy>Trefzger, Henderson</cp:lastModifiedBy>
  <cp:revision>10</cp:revision>
  <cp:lastPrinted>2014-06-25T02:16:22Z</cp:lastPrinted>
  <dcterms:created xsi:type="dcterms:W3CDTF">2019-09-29T17:27:02Z</dcterms:created>
  <dcterms:modified xsi:type="dcterms:W3CDTF">2019-10-03T22:02:52Z</dcterms:modified>
</cp:coreProperties>
</file>